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25.873000000000001</c:v>
                </c:pt>
                <c:pt idx="1">
                  <c:v>31.048999999999999</c:v>
                </c:pt>
                <c:pt idx="2">
                  <c:v>31.125</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72.923000000000002</c:v>
                </c:pt>
                <c:pt idx="1">
                  <c:v>81.260000000000005</c:v>
                </c:pt>
                <c:pt idx="2">
                  <c:v>92.585999999999999</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36.701999999999998</c:v>
                </c:pt>
                <c:pt idx="1">
                  <c:v>41.116999999999997</c:v>
                </c:pt>
                <c:pt idx="2">
                  <c:v>44.953000000000003</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56.844999999999999</c:v>
                </c:pt>
                <c:pt idx="1">
                  <c:v>56.420999999999999</c:v>
                </c:pt>
                <c:pt idx="2">
                  <c:v>60.350999999999999</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179.09299999999999</c:v>
                </c:pt>
                <c:pt idx="1">
                  <c:v>214.697</c:v>
                </c:pt>
                <c:pt idx="2">
                  <c:v>236.98500000000001</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69.658000000000001</c:v>
                </c:pt>
                <c:pt idx="1">
                  <c:v>64.009</c:v>
                </c:pt>
                <c:pt idx="2">
                  <c:v>79.837999999999994</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441.09399999999999</c:v>
                </c:pt>
                <c:pt idx="1">
                  <c:v>488.553</c:v>
                </c:pt>
                <c:pt idx="2">
                  <c:v>545.83799999999997</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48B9495B-C4F7-47DD-8F81-5B8FE7E00B4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32FB746E-1BCC-4CA5-BB3B-830937ADB64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D04D8CAB-365B-4E55-A189-8F60704D28F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D96055FD-E0EF-4F62-8589-F23FFE000F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CD5D82BA-09D7-4F97-8E89-FD906244D8C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292394EB-95BB-4763-ACAA-AD2246B7D2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FA74BA06-D24C-47C3-8EA8-10E2E65F976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A8280975-C89C-4020-8E5D-8B15734FC29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0D545351-FFF9-44B8-A796-F5AAB1D76F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3997F426-90E6-4FEA-91BD-F0CD2B360CE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03A63498-98F4-4709-9345-E7798E2C29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F45D6D35-E1D0-4441-BEF0-95B221E5478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67E99346-DE4C-4585-80A0-1B9B4D6AE6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F25F49AA-6364-4460-8638-9F13D977316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8E7F3BEE-5DCA-4107-8A8C-88FC5D6DF71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73843554-57AF-485E-9707-1042260D0C7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C4F394C4-F2F1-48FC-9B89-A8C6D3A051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E3FD94AB-56F4-460B-A53A-E550FDC4738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Openbaar bestuur en overheidsdiensten</c:v>
                </c:pt>
                <c:pt idx="1">
                  <c:v>Gezondheids- en welzijnszorg</c:v>
                </c:pt>
                <c:pt idx="2">
                  <c:v>Verhuur en overige zakelijke diensten</c:v>
                </c:pt>
                <c:pt idx="3">
                  <c:v>Handel</c:v>
                </c:pt>
                <c:pt idx="4">
                  <c:v>Specialistische zakelijke diensten</c:v>
                </c:pt>
                <c:pt idx="5">
                  <c:v>Onderwijs</c:v>
                </c:pt>
                <c:pt idx="6">
                  <c:v>Horeca</c:v>
                </c:pt>
                <c:pt idx="7">
                  <c:v>Financiële dienstverlening</c:v>
                </c:pt>
                <c:pt idx="8">
                  <c:v>Overige dienstverlening</c:v>
                </c:pt>
                <c:pt idx="9">
                  <c:v>Vervoer en opslag</c:v>
                </c:pt>
                <c:pt idx="10">
                  <c:v>Informatie en communicatie</c:v>
                </c:pt>
                <c:pt idx="11">
                  <c:v>Bouwnijverheid</c:v>
                </c:pt>
                <c:pt idx="12">
                  <c:v>Cultuur, sport en recreatie</c:v>
                </c:pt>
                <c:pt idx="13">
                  <c:v>Industrie</c:v>
                </c:pt>
                <c:pt idx="14">
                  <c:v>Verhuur en handel van onroerend goed</c:v>
                </c:pt>
                <c:pt idx="15">
                  <c:v>Landbouw, bosbouw en visserij</c:v>
                </c:pt>
                <c:pt idx="16">
                  <c:v>Waterbedrijven en afvalbeheer</c:v>
                </c:pt>
                <c:pt idx="17">
                  <c:v>Delfstoffenwinning</c:v>
                </c:pt>
                <c:pt idx="18">
                  <c:v>Energievoorziening</c:v>
                </c:pt>
              </c:strCache>
            </c:strRef>
          </c:cat>
          <c:val>
            <c:numRef>
              <c:f>Sheet1!$B$2:$B$20</c:f>
              <c:numCache>
                <c:formatCode>General</c:formatCode>
                <c:ptCount val="19"/>
                <c:pt idx="0">
                  <c:v>66.599999999999994</c:v>
                </c:pt>
                <c:pt idx="1">
                  <c:v>40.9</c:v>
                </c:pt>
                <c:pt idx="2">
                  <c:v>38</c:v>
                </c:pt>
                <c:pt idx="3">
                  <c:v>28</c:v>
                </c:pt>
                <c:pt idx="4">
                  <c:v>20.6</c:v>
                </c:pt>
                <c:pt idx="5">
                  <c:v>17.8</c:v>
                </c:pt>
                <c:pt idx="6">
                  <c:v>13.5</c:v>
                </c:pt>
                <c:pt idx="7">
                  <c:v>13.1</c:v>
                </c:pt>
                <c:pt idx="8">
                  <c:v>11</c:v>
                </c:pt>
                <c:pt idx="9">
                  <c:v>9.9</c:v>
                </c:pt>
                <c:pt idx="10">
                  <c:v>9.9</c:v>
                </c:pt>
                <c:pt idx="11">
                  <c:v>5.5</c:v>
                </c:pt>
                <c:pt idx="12">
                  <c:v>5.0999999999999996</c:v>
                </c:pt>
                <c:pt idx="13">
                  <c:v>4.5</c:v>
                </c:pt>
                <c:pt idx="14">
                  <c:v>2.4</c:v>
                </c:pt>
                <c:pt idx="15">
                  <c:v>0.9</c:v>
                </c:pt>
                <c:pt idx="16">
                  <c:v>0.6</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66,6</c:v>
                  </c:pt>
                  <c:pt idx="1">
                    <c:v>40,9</c:v>
                  </c:pt>
                  <c:pt idx="2">
                    <c:v>38</c:v>
                  </c:pt>
                  <c:pt idx="3">
                    <c:v>28</c:v>
                  </c:pt>
                  <c:pt idx="4">
                    <c:v>20,6</c:v>
                  </c:pt>
                  <c:pt idx="5">
                    <c:v>17,8</c:v>
                  </c:pt>
                  <c:pt idx="6">
                    <c:v>13,5</c:v>
                  </c:pt>
                  <c:pt idx="7">
                    <c:v>13,1</c:v>
                  </c:pt>
                  <c:pt idx="8">
                    <c:v>11</c:v>
                  </c:pt>
                  <c:pt idx="9">
                    <c:v>9,9</c:v>
                  </c:pt>
                  <c:pt idx="10">
                    <c:v>9,9</c:v>
                  </c:pt>
                  <c:pt idx="11">
                    <c:v>5,5</c:v>
                  </c:pt>
                  <c:pt idx="12">
                    <c:v>5,1</c:v>
                  </c:pt>
                  <c:pt idx="13">
                    <c:v>4,5</c:v>
                  </c:pt>
                  <c:pt idx="14">
                    <c:v>2,4</c:v>
                  </c:pt>
                  <c:pt idx="15">
                    <c:v>0,9</c:v>
                  </c:pt>
                  <c:pt idx="16">
                    <c:v>0,6</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A11330DF-9B13-440A-8D08-41A010C8D74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26CFEE59-B847-436C-8C6D-1F4681590C6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61D33B5D-F267-4F9F-B4FF-2F5C261E29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0F28FDB0-15BF-4815-9280-DC856539EED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18A4B452-2DAE-4642-ADD3-868725FB86B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BE32AAD3-8CB1-4647-A9E9-24D5E98B30C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11FB5FDE-34E6-4F49-935A-E6900DA864C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CA7199EE-7894-43E8-8331-9BDBD64FAF7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E82107E4-8EE6-451A-B0BB-6661299D292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539509E7-FFCB-4F59-BA27-8872BA73E25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4AB03423-289E-44D4-AFC9-A53A833C9D1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3E529A86-4049-454F-98B7-E47C2FAADB9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33CF8EDA-6320-4D59-9B4B-56422361F5D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F5403180-40FD-4819-9506-79464CB4479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C9020BDC-C502-4A73-AE3C-9B03BACCB3B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23CA5618-BE3E-48A1-8410-7ED203E07FF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C6762B86-ED0F-4FB1-9D07-EB64AE3EE94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315987CB-65D4-4855-8A78-9B39A4DE8A5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9.9999999999999929</c:v>
                </c:pt>
                <c:pt idx="1">
                  <c:v>1.1999999999999957</c:v>
                </c:pt>
                <c:pt idx="2">
                  <c:v>3.6000000000000014</c:v>
                </c:pt>
                <c:pt idx="3">
                  <c:v>2.5</c:v>
                </c:pt>
                <c:pt idx="4">
                  <c:v>2.7000000000000028</c:v>
                </c:pt>
                <c:pt idx="5">
                  <c:v>1.8000000000000007</c:v>
                </c:pt>
                <c:pt idx="6">
                  <c:v>2.8000000000000007</c:v>
                </c:pt>
                <c:pt idx="7">
                  <c:v>3.1999999999999993</c:v>
                </c:pt>
                <c:pt idx="8">
                  <c:v>0.30000000000000071</c:v>
                </c:pt>
                <c:pt idx="9">
                  <c:v>9.9999999999999645E-2</c:v>
                </c:pt>
                <c:pt idx="10">
                  <c:v>-0.69999999999999929</c:v>
                </c:pt>
                <c:pt idx="11">
                  <c:v>0.5</c:v>
                </c:pt>
                <c:pt idx="12">
                  <c:v>0</c:v>
                </c:pt>
                <c:pt idx="13">
                  <c:v>-1.0999999999999996</c:v>
                </c:pt>
                <c:pt idx="14">
                  <c:v>0</c:v>
                </c:pt>
                <c:pt idx="15">
                  <c:v>0.20000000000000007</c:v>
                </c:pt>
                <c:pt idx="16">
                  <c:v>0</c:v>
                </c:pt>
                <c:pt idx="17">
                  <c:v>0</c:v>
                </c:pt>
                <c:pt idx="18">
                  <c:v>0</c:v>
                </c:pt>
              </c:numCache>
            </c:numRef>
          </c:val>
          <c:extLst>
            <c:ext xmlns:c15="http://schemas.microsoft.com/office/drawing/2012/chart" uri="{02D57815-91ED-43cb-92C2-25804820EDAC}">
              <c15:datalabelsRange>
                <c15:f>Sheet1!$B$2:$B$20</c15:f>
                <c15:dlblRangeCache>
                  <c:ptCount val="19"/>
                  <c:pt idx="0">
                    <c:v>10</c:v>
                  </c:pt>
                  <c:pt idx="1">
                    <c:v>1,2</c:v>
                  </c:pt>
                  <c:pt idx="2">
                    <c:v>3,6</c:v>
                  </c:pt>
                  <c:pt idx="3">
                    <c:v>2,5</c:v>
                  </c:pt>
                  <c:pt idx="4">
                    <c:v>2,7</c:v>
                  </c:pt>
                  <c:pt idx="5">
                    <c:v>1,8</c:v>
                  </c:pt>
                  <c:pt idx="6">
                    <c:v>2,8</c:v>
                  </c:pt>
                  <c:pt idx="7">
                    <c:v>3,2</c:v>
                  </c:pt>
                  <c:pt idx="8">
                    <c:v>0,3</c:v>
                  </c:pt>
                  <c:pt idx="9">
                    <c:v>0,1</c:v>
                  </c:pt>
                  <c:pt idx="10">
                    <c:v>-0,7</c:v>
                  </c:pt>
                  <c:pt idx="11">
                    <c:v>0,5</c:v>
                  </c:pt>
                  <c:pt idx="12">
                    <c:v>0</c:v>
                  </c:pt>
                  <c:pt idx="13">
                    <c:v>-1,1</c:v>
                  </c:pt>
                  <c:pt idx="14">
                    <c:v>0</c:v>
                  </c:pt>
                  <c:pt idx="15">
                    <c:v>0,2</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67858796-AA16-40C8-A242-BE273913448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F3613B33-D320-404A-8CCA-38AC98B5BB1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A9C79A4A-7F05-4F49-B872-14FFCF0817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C30616EA-2051-4A3A-A5A5-CA03F4D25BA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EC97F4BA-0153-4F4C-B895-DE12E29C1B2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E78DF200-E0EC-48AC-8F78-DD2003AF37F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EEC18D23-4BB6-4F0C-B602-790278EE976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8F132D29-016B-49A8-9589-B158B20223E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CCBA14C2-761D-4635-A9B0-F81B29937BC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7CE99118-7620-4611-8439-D48567D019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C2C51B7A-A3B8-499C-8BDF-0320636218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0E692608-B167-4EC0-A19F-AB9E9D51504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B46AD40B-BD84-4036-B2F8-F5D95538DB1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3072C916-6591-4270-8EBD-B6836B298E5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012228B8-F595-4656-95E3-605469EFC69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8283A16E-C223-4A0E-BB28-66BBE21CB49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6D70FE08-5B4A-4C9D-9C94-726B60CC2DF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9CAE3FA8-BBED-4AA4-9B30-0D2820191C0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2.7213637700886193</c:v>
                </c:pt>
                <c:pt idx="1">
                  <c:v>-0.14554932332931392</c:v>
                </c:pt>
                <c:pt idx="2">
                  <c:v>3.0995947731633944E-2</c:v>
                </c:pt>
                <c:pt idx="3">
                  <c:v>-0.41545726481699397</c:v>
                </c:pt>
                <c:pt idx="4">
                  <c:v>0.14159999229231768</c:v>
                </c:pt>
                <c:pt idx="5">
                  <c:v>-2.2689048363267572E-2</c:v>
                </c:pt>
                <c:pt idx="6">
                  <c:v>-7.9772211942012783E-2</c:v>
                </c:pt>
                <c:pt idx="7">
                  <c:v>0.446000561933795</c:v>
                </c:pt>
                <c:pt idx="8">
                  <c:v>1.408698497355322</c:v>
                </c:pt>
                <c:pt idx="9">
                  <c:v>-0.25599199033853848</c:v>
                </c:pt>
                <c:pt idx="10">
                  <c:v>2.9263181432925167E-2</c:v>
                </c:pt>
                <c:pt idx="11">
                  <c:v>-0.50928558257003964</c:v>
                </c:pt>
                <c:pt idx="12">
                  <c:v>6.7178892197479634E-2</c:v>
                </c:pt>
                <c:pt idx="13">
                  <c:v>-0.82759087119223262</c:v>
                </c:pt>
                <c:pt idx="14">
                  <c:v>3.7298979726499537E-2</c:v>
                </c:pt>
                <c:pt idx="15">
                  <c:v>-0.74080101876620796</c:v>
                </c:pt>
                <c:pt idx="16">
                  <c:v>-0.49956151750554412</c:v>
                </c:pt>
                <c:pt idx="17">
                  <c:v>0</c:v>
                </c:pt>
                <c:pt idx="18">
                  <c:v>0</c:v>
                </c:pt>
              </c:numCache>
            </c:numRef>
          </c:val>
          <c:extLst>
            <c:ext xmlns:c15="http://schemas.microsoft.com/office/drawing/2012/chart" uri="{02D57815-91ED-43cb-92C2-25804820EDAC}">
              <c15:datalabelsRange>
                <c15:f>Sheet1!$B$2:$B$20</c15:f>
                <c15:dlblRangeCache>
                  <c:ptCount val="19"/>
                  <c:pt idx="0">
                    <c:v>+272%</c:v>
                  </c:pt>
                  <c:pt idx="1">
                    <c:v>-15%</c:v>
                  </c:pt>
                  <c:pt idx="2">
                    <c:v>+3%</c:v>
                  </c:pt>
                  <c:pt idx="3">
                    <c:v>-42%</c:v>
                  </c:pt>
                  <c:pt idx="4">
                    <c:v>+14%</c:v>
                  </c:pt>
                  <c:pt idx="5">
                    <c:v>-2%</c:v>
                  </c:pt>
                  <c:pt idx="6">
                    <c:v>-8%</c:v>
                  </c:pt>
                  <c:pt idx="7">
                    <c:v>+45%</c:v>
                  </c:pt>
                  <c:pt idx="8">
                    <c:v>+141%</c:v>
                  </c:pt>
                  <c:pt idx="9">
                    <c:v>-26%</c:v>
                  </c:pt>
                  <c:pt idx="10">
                    <c:v>+3%</c:v>
                  </c:pt>
                  <c:pt idx="11">
                    <c:v>-51%</c:v>
                  </c:pt>
                  <c:pt idx="12">
                    <c:v>+7%</c:v>
                  </c:pt>
                  <c:pt idx="13">
                    <c:v>-83%</c:v>
                  </c:pt>
                  <c:pt idx="14">
                    <c:v>+4%</c:v>
                  </c:pt>
                  <c:pt idx="15">
                    <c:v>-74%</c:v>
                  </c:pt>
                  <c:pt idx="16">
                    <c:v>-5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1417322834645671</c:v>
                </c:pt>
                <c:pt idx="1">
                  <c:v>0.60512820512820509</c:v>
                </c:pt>
                <c:pt idx="2">
                  <c:v>0.6501240694789082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9.8999996185302738E-2</c:v>
                </c:pt>
                <c:pt idx="1">
                  <c:v>8.8000001907348635E-2</c:v>
                </c:pt>
                <c:pt idx="2">
                  <c:v>5.0999999046325684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78108725585975</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3762809969635628</c:v>
                </c:pt>
                <c:pt idx="1">
                  <c:v>0.1378108725585975</c:v>
                </c:pt>
                <c:pt idx="2">
                  <c:v>0.1349303594238360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78108725585975</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4.4637209008097166E-2</c:v>
                </c:pt>
                <c:pt idx="1">
                  <c:v>4.4231789964383796E-2</c:v>
                </c:pt>
                <c:pt idx="2">
                  <c:v>4.2745610626346839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78108725585975</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189223810728745E-2</c:v>
                </c:pt>
                <c:pt idx="1">
                  <c:v>5.9270598552274283E-2</c:v>
                </c:pt>
                <c:pt idx="2">
                  <c:v>5.1354230774236613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78108725585975</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28999999999999998</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9</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17</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16</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1.486607142857143</c:v>
                </c:pt>
                <c:pt idx="2">
                  <c:v>1.486607142857143</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08</c:v>
                </c:pt>
                <c:pt idx="4" formatCode="0.0%">
                  <c:v>1.08</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1503759398496245</c:v>
                </c:pt>
                <c:pt idx="6" formatCode="0.0%">
                  <c:v>1.1503759398496245</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1.1142857142857143</c:v>
                </c:pt>
                <c:pt idx="8" formatCode="0.0%">
                  <c:v>1.1142857142857143</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1.4025974025974026</c:v>
                </c:pt>
                <c:pt idx="10" formatCode="0.0%">
                  <c:v>1.4025974025974026</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1.3499999999999999</c:v>
                </c:pt>
                <c:pt idx="14" formatCode="0.0%">
                  <c:v>1.3499999999999999</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1.3416149068322978</c:v>
                </c:pt>
                <c:pt idx="16" formatCode="0.0%">
                  <c:v>1.3416149068322978</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2100840336134451</c:v>
                </c:pt>
                <c:pt idx="18" formatCode="0.0%">
                  <c:v>1.2100840336134451</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1.0879120879120878</c:v>
                </c:pt>
                <c:pt idx="20" formatCode="0.0%">
                  <c:v>1.0879120879120878</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1</c:v>
                </c:pt>
                <c:pt idx="22" formatCode="0.0%">
                  <c:v>1</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1.4615384615384617</c:v>
                </c:pt>
                <c:pt idx="26">
                  <c:v>1.4615384615384617</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78974358974358982</c:v>
                </c:pt>
                <c:pt idx="28">
                  <c:v>0.78974358974358982</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62541806020066892</c:v>
                </c:pt>
                <c:pt idx="30">
                  <c:v>0.6254180602006689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65088757396449703</c:v>
                </c:pt>
                <c:pt idx="32">
                  <c:v>0.65088757396449703</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97633136094674555</c:v>
                </c:pt>
                <c:pt idx="34">
                  <c:v>0.97633136094674555</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3034482758620691</c:v>
                </c:pt>
                <c:pt idx="38">
                  <c:v>1.3034482758620691</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6098003629764065</c:v>
                </c:pt>
                <c:pt idx="40">
                  <c:v>0.6098003629764065</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57931034482758625</c:v>
                </c:pt>
                <c:pt idx="42">
                  <c:v>0.57931034482758625</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59820089955022493</c:v>
                </c:pt>
                <c:pt idx="44">
                  <c:v>0.59820089955022493</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80172413793103425</c:v>
                </c:pt>
                <c:pt idx="46">
                  <c:v>0.80172413793103425</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25.873000000000001</c:v>
                </c:pt>
                <c:pt idx="1">
                  <c:v>31.048999999999999</c:v>
                </c:pt>
                <c:pt idx="2">
                  <c:v>31.125</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72.923000000000002</c:v>
                </c:pt>
                <c:pt idx="1">
                  <c:v>81.260000000000005</c:v>
                </c:pt>
                <c:pt idx="2">
                  <c:v>92.585999999999999</c:v>
                </c:pt>
                <c:pt idx="3">
                  <c:v>139.80000305175781</c:v>
                </c:pt>
                <c:pt idx="4">
                  <c:v>148.19999694824219</c:v>
                </c:pt>
                <c:pt idx="5">
                  <c:v>148.89999389648438</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36.701999999999998</c:v>
                </c:pt>
                <c:pt idx="1">
                  <c:v>41.116999999999997</c:v>
                </c:pt>
                <c:pt idx="2">
                  <c:v>44.953000000000003</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56.844999999999999</c:v>
                </c:pt>
                <c:pt idx="1">
                  <c:v>56.420999999999999</c:v>
                </c:pt>
                <c:pt idx="2">
                  <c:v>60.350999999999999</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179.09299999999999</c:v>
                </c:pt>
                <c:pt idx="1">
                  <c:v>214.697</c:v>
                </c:pt>
                <c:pt idx="2">
                  <c:v>236.98500000000001</c:v>
                </c:pt>
                <c:pt idx="3">
                  <c:v>345</c:v>
                </c:pt>
                <c:pt idx="4">
                  <c:v>336</c:v>
                </c:pt>
                <c:pt idx="5">
                  <c:v>338.39999389648438</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69.658000000000001</c:v>
                </c:pt>
                <c:pt idx="1">
                  <c:v>64.009</c:v>
                </c:pt>
                <c:pt idx="2">
                  <c:v>79.837999999999994</c:v>
                </c:pt>
                <c:pt idx="3">
                  <c:v>109.90000152587891</c:v>
                </c:pt>
                <c:pt idx="4">
                  <c:v>135.30000305175781</c:v>
                </c:pt>
                <c:pt idx="5">
                  <c:v>145.69999694824219</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441.09399999999999</c:v>
                </c:pt>
                <c:pt idx="1">
                  <c:v>488.553</c:v>
                </c:pt>
                <c:pt idx="2">
                  <c:v>545.83799999999997</c:v>
                </c:pt>
                <c:pt idx="3">
                  <c:v>594.70000457763672</c:v>
                </c:pt>
                <c:pt idx="4">
                  <c:v>619.5</c:v>
                </c:pt>
                <c:pt idx="5">
                  <c:v>632.99998474121094</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N/A</c:v>
                </c:pt>
                <c:pt idx="1">
                  <c:v>#N/A</c:v>
                </c:pt>
                <c:pt idx="2">
                  <c:v>#N/A</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72000</c:v>
                </c:pt>
                <c:pt idx="1">
                  <c:v>224000</c:v>
                </c:pt>
                <c:pt idx="2">
                  <c:v>427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12805</c:v>
                </c:pt>
                <c:pt idx="1">
                  <c:v>12895</c:v>
                </c:pt>
                <c:pt idx="2">
                  <c:v>24185</c:v>
                </c:pt>
                <c:pt idx="3">
                  <c:v>230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19935</c:v>
                </c:pt>
                <c:pt idx="1">
                  <c:v>4160</c:v>
                </c:pt>
                <c:pt idx="2">
                  <c:v>24930</c:v>
                </c:pt>
                <c:pt idx="3">
                  <c:v>200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22505</c:v>
                </c:pt>
                <c:pt idx="1">
                  <c:v>20</c:v>
                </c:pt>
                <c:pt idx="2">
                  <c:v>24950</c:v>
                </c:pt>
                <c:pt idx="3">
                  <c:v>198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6.063971568191915E-2</c:v>
                </c:pt>
                <c:pt idx="2">
                  <c:v>4.0080160320641281E-2</c:v>
                </c:pt>
                <c:pt idx="3">
                  <c:v>0.27272727272727271</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4438027543314083</c:v>
                </c:pt>
                <c:pt idx="2">
                  <c:v>4.4288577154308617E-2</c:v>
                </c:pt>
                <c:pt idx="3">
                  <c:v>0.25757575757575757</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139049311417148</c:v>
                </c:pt>
                <c:pt idx="2">
                  <c:v>0.15170340681362726</c:v>
                </c:pt>
                <c:pt idx="3">
                  <c:v>0.2878787878787879</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25944024877832073</c:v>
                </c:pt>
                <c:pt idx="2">
                  <c:v>0.30701402805611222</c:v>
                </c:pt>
                <c:pt idx="3">
                  <c:v>0.16161616161616163</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32163482896490447</c:v>
                </c:pt>
                <c:pt idx="2">
                  <c:v>0.45691382765531063</c:v>
                </c:pt>
                <c:pt idx="3">
                  <c:v>2.0202020202020204E-2</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06</c:v>
                </c:pt>
                <c:pt idx="1">
                  <c:v>1.1000000000000001E-2</c:v>
                </c:pt>
                <c:pt idx="2">
                  <c:v>6.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14055</c:v>
                </c:pt>
                <c:pt idx="1">
                  <c:v>13215</c:v>
                </c:pt>
                <c:pt idx="2">
                  <c:v>11965</c:v>
                </c:pt>
                <c:pt idx="3">
                  <c:v>11240</c:v>
                </c:pt>
                <c:pt idx="4">
                  <c:v>12250</c:v>
                </c:pt>
                <c:pt idx="5">
                  <c:v>12665</c:v>
                </c:pt>
                <c:pt idx="6">
                  <c:v>1176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970</c:v>
                </c:pt>
                <c:pt idx="1">
                  <c:v>970</c:v>
                </c:pt>
                <c:pt idx="2">
                  <c:v>995</c:v>
                </c:pt>
                <c:pt idx="3">
                  <c:v>1035</c:v>
                </c:pt>
                <c:pt idx="4">
                  <c:v>1045</c:v>
                </c:pt>
                <c:pt idx="5">
                  <c:v>1030</c:v>
                </c:pt>
                <c:pt idx="6">
                  <c:v>100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410</c:v>
                </c:pt>
                <c:pt idx="1">
                  <c:v>400</c:v>
                </c:pt>
                <c:pt idx="2">
                  <c:v>370</c:v>
                </c:pt>
                <c:pt idx="3">
                  <c:v>345</c:v>
                </c:pt>
                <c:pt idx="4">
                  <c:v>345</c:v>
                </c:pt>
                <c:pt idx="5">
                  <c:v>355</c:v>
                </c:pt>
                <c:pt idx="6">
                  <c:v>345</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B$2:$B$3</c:f>
              <c:numCache>
                <c:formatCode>0%</c:formatCode>
                <c:ptCount val="2"/>
                <c:pt idx="0">
                  <c:v>0</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C$2:$C$3</c:f>
              <c:numCache>
                <c:formatCode>0%</c:formatCode>
                <c:ptCount val="2"/>
                <c:pt idx="0">
                  <c:v>0</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D$2:$D$3</c:f>
              <c:numCache>
                <c:formatCode>0%</c:formatCode>
                <c:ptCount val="2"/>
                <c:pt idx="0">
                  <c:v>0</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E$2:$E$3</c:f>
              <c:numCache>
                <c:formatCode>0%</c:formatCode>
                <c:ptCount val="2"/>
                <c:pt idx="0">
                  <c:v>0</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623679577464789</c:v>
                </c:pt>
                <c:pt idx="1">
                  <c:v>0.36099999999999999</c:v>
                </c:pt>
                <c:pt idx="2">
                  <c:v>0.44001181023080188</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B$2:$B$3</c:f>
              <c:numCache>
                <c:formatCode>0.0%</c:formatCode>
                <c:ptCount val="2"/>
                <c:pt idx="0">
                  <c:v>0.42256710562374694</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C$2:$C$3</c:f>
              <c:numCache>
                <c:formatCode>0.0%</c:formatCode>
                <c:ptCount val="2"/>
                <c:pt idx="0">
                  <c:v>0.19828071137009418</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D$2:$D$3</c:f>
              <c:numCache>
                <c:formatCode>0.0%</c:formatCode>
                <c:ptCount val="2"/>
                <c:pt idx="0">
                  <c:v>0.23735414172592348</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E$2:$E$3</c:f>
              <c:numCache>
                <c:formatCode>0.0%</c:formatCode>
                <c:ptCount val="2"/>
                <c:pt idx="0">
                  <c:v>0.1417980412802354</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4672F36C-8FBE-423C-B824-5190C86CEA6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94525860-895B-4E26-8F2C-30D0922197C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3EA8AD27-ECCE-4328-AE4F-B93FC00C507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DEC4B278-4489-45CE-A5E3-47806A2D2DB8}"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01DB7CAE-E610-474E-9D5A-79550491F91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527FEF26-9221-4581-AF9E-63756F8F19B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Bedrog</c:v>
                </c:pt>
                <c:pt idx="5">
                  <c:v>Valsheidsmisdrijven</c:v>
                </c:pt>
                <c:pt idx="6">
                  <c:v>Overig</c:v>
                </c:pt>
              </c:strCache>
            </c:strRef>
          </c:cat>
          <c:val>
            <c:numRef>
              <c:f>Sheet1!$B$2:$B$8</c:f>
              <c:numCache>
                <c:formatCode>#,##0</c:formatCode>
                <c:ptCount val="7"/>
                <c:pt idx="0">
                  <c:v>16320</c:v>
                </c:pt>
                <c:pt idx="1">
                  <c:v>6110</c:v>
                </c:pt>
                <c:pt idx="2">
                  <c:v>4635</c:v>
                </c:pt>
                <c:pt idx="3">
                  <c:v>4615</c:v>
                </c:pt>
                <c:pt idx="4">
                  <c:v>1745</c:v>
                </c:pt>
                <c:pt idx="5">
                  <c:v>1655</c:v>
                </c:pt>
                <c:pt idx="6">
                  <c:v>2000</c:v>
                </c:pt>
              </c:numCache>
            </c:numRef>
          </c:val>
          <c:extLst>
            <c:ext xmlns:c15="http://schemas.microsoft.com/office/drawing/2012/chart" uri="{02D57815-91ED-43cb-92C2-25804820EDAC}">
              <c15:datalabelsRange>
                <c15:f>Sheet1!$B$2:$B$20</c15:f>
                <c15:dlblRangeCache>
                  <c:ptCount val="19"/>
                  <c:pt idx="0">
                    <c:v>16.320</c:v>
                  </c:pt>
                  <c:pt idx="1">
                    <c:v>6.110</c:v>
                  </c:pt>
                  <c:pt idx="2">
                    <c:v>4.635</c:v>
                  </c:pt>
                  <c:pt idx="3">
                    <c:v>4.615</c:v>
                  </c:pt>
                  <c:pt idx="4">
                    <c:v>1.745</c:v>
                  </c:pt>
                  <c:pt idx="5">
                    <c:v>1.655</c:v>
                  </c:pt>
                  <c:pt idx="6">
                    <c:v>2.000</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7D49C03-0464-49E7-A6F9-D39A4E619DF3}"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032946E-69B4-4DEE-8B08-E2231AC03B6F}"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FA91C4B-9C91-4C65-87A2-8FBC79E27F8A}"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14770D48-BDFC-4C61-8503-CFDF0142F3C7}"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35826E0-889C-48E4-BEB2-E42A3265F565}"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93F194E-A976-4578-9774-4CF1627E8EF4}"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4015656612219205</c:v>
                </c:pt>
                <c:pt idx="1">
                  <c:v>0.59057275802610953</c:v>
                </c:pt>
                <c:pt idx="2">
                  <c:v>0.45944381548713936</c:v>
                </c:pt>
                <c:pt idx="3">
                  <c:v>0.78205350348221925</c:v>
                </c:pt>
                <c:pt idx="4">
                  <c:v>4.8466802020403515E-2</c:v>
                </c:pt>
                <c:pt idx="5">
                  <c:v>0.47496987159055698</c:v>
                </c:pt>
                <c:pt idx="6">
                  <c:v>0.42828998375307997</c:v>
                </c:pt>
              </c:numCache>
            </c:numRef>
          </c:val>
          <c:extLst>
            <c:ext xmlns:c15="http://schemas.microsoft.com/office/drawing/2012/chart" uri="{02D57815-91ED-43cb-92C2-25804820EDAC}">
              <c15:datalabelsRange>
                <c15:f>Sheet1!$B$2:$B$35</c15:f>
                <c15:dlblRangeCache>
                  <c:ptCount val="34"/>
                  <c:pt idx="0">
                    <c:v>+40%</c:v>
                  </c:pt>
                  <c:pt idx="1">
                    <c:v>+59%</c:v>
                  </c:pt>
                  <c:pt idx="2">
                    <c:v>+46%</c:v>
                  </c:pt>
                  <c:pt idx="3">
                    <c:v>+78%</c:v>
                  </c:pt>
                  <c:pt idx="4">
                    <c:v>+5%</c:v>
                  </c:pt>
                  <c:pt idx="5">
                    <c:v>+47%</c:v>
                  </c:pt>
                  <c:pt idx="6">
                    <c:v>+43%</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721A9605-7620-4196-B223-3B5A87635251}"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99CC9A15-1C12-46D0-8014-50198BE2B914}"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79660F59-2CDD-412A-83B3-E6DD6D7BA91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3198EF5B-1733-4597-8C6F-79CA979669C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C7E263E9-BB9A-41D2-888E-30FC038A4B5B}"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8123443113070636</c:v>
                </c:pt>
                <c:pt idx="1">
                  <c:v>-0.12701553547794064</c:v>
                </c:pt>
                <c:pt idx="2">
                  <c:v>-6.675379778089853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3611327413612564</c:v>
                </c:pt>
                <c:pt idx="1">
                  <c:v>0.10177839535685804</c:v>
                </c:pt>
                <c:pt idx="2">
                  <c:v>0.17125375849433297</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12</c:v>
                  </c:pt>
                  <c:pt idx="1">
                    <c:v>'17</c:v>
                  </c:pt>
                  <c:pt idx="2">
                    <c:v>'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DD165089-FC96-4F8C-903C-656C69E333AB}"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3B613BBF-D82B-4A2A-B98C-A75DFAA55BFB}"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D8E2C40D-F150-4331-9BB2-A3D1050A5B1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05ADAA88-371D-429B-B03D-D49A5619710F}"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A9288D20-E0B7-4C6D-9F21-A904E9603ACA}"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3804503976522464</c:v>
                </c:pt>
                <c:pt idx="1">
                  <c:v>4.7403006271536652E-2</c:v>
                </c:pt>
                <c:pt idx="2">
                  <c:v>-6.675379778089853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9043035491503627</c:v>
                </c:pt>
                <c:pt idx="1">
                  <c:v>-2.1806354988806332E-2</c:v>
                </c:pt>
                <c:pt idx="2">
                  <c:v>0.17125375849433297</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12</c:v>
                  </c:pt>
                  <c:pt idx="1">
                    <c:v>'17</c:v>
                  </c:pt>
                  <c:pt idx="2">
                    <c:v>'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26392210893726464</c:v>
                </c:pt>
                <c:pt idx="1">
                  <c:v>0.1175052815284284</c:v>
                </c:pt>
                <c:pt idx="2">
                  <c:v>0.11300817488748048</c:v>
                </c:pt>
                <c:pt idx="3">
                  <c:v>4.3589602277946171E-2</c:v>
                </c:pt>
                <c:pt idx="4">
                  <c:v>7.4701938091301559E-2</c:v>
                </c:pt>
                <c:pt idx="5">
                  <c:v>0.27136952328465141</c:v>
                </c:pt>
                <c:pt idx="6">
                  <c:v>3.456599614218793E-2</c:v>
                </c:pt>
                <c:pt idx="7">
                  <c:v>0</c:v>
                </c:pt>
                <c:pt idx="8">
                  <c:v>2.7449251400753192E-2</c:v>
                </c:pt>
                <c:pt idx="9">
                  <c:v>1.5225498300725636E-2</c:v>
                </c:pt>
                <c:pt idx="10">
                  <c:v>0</c:v>
                </c:pt>
                <c:pt idx="11">
                  <c:v>0</c:v>
                </c:pt>
                <c:pt idx="12">
                  <c:v>5.0518967576008086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0815305924486585</c:v>
                </c:pt>
                <c:pt idx="1">
                  <c:v>0.15904870710759783</c:v>
                </c:pt>
                <c:pt idx="2">
                  <c:v>0.13931889498270908</c:v>
                </c:pt>
                <c:pt idx="3">
                  <c:v>6.113562667635656E-2</c:v>
                </c:pt>
                <c:pt idx="4">
                  <c:v>5.42408164145139E-2</c:v>
                </c:pt>
                <c:pt idx="5">
                  <c:v>6.7081977107628629E-2</c:v>
                </c:pt>
                <c:pt idx="6">
                  <c:v>0.12084240477678861</c:v>
                </c:pt>
                <c:pt idx="7">
                  <c:v>1.7802098313404385E-2</c:v>
                </c:pt>
                <c:pt idx="8">
                  <c:v>4.2449736248102311E-2</c:v>
                </c:pt>
                <c:pt idx="9">
                  <c:v>1.8889131820519375E-2</c:v>
                </c:pt>
                <c:pt idx="10">
                  <c:v>0</c:v>
                </c:pt>
                <c:pt idx="11">
                  <c:v>0</c:v>
                </c:pt>
                <c:pt idx="12">
                  <c:v>5.0440818262162922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0344734833794148</c:v>
                </c:pt>
                <c:pt idx="1">
                  <c:v>0.17738737160801191</c:v>
                </c:pt>
                <c:pt idx="2">
                  <c:v>0.10074001326143799</c:v>
                </c:pt>
                <c:pt idx="3">
                  <c:v>5.1397455305200734E-2</c:v>
                </c:pt>
                <c:pt idx="4">
                  <c:v>3.918066832643155E-2</c:v>
                </c:pt>
                <c:pt idx="5">
                  <c:v>5.6170321902641027E-2</c:v>
                </c:pt>
                <c:pt idx="6">
                  <c:v>8.6024195868936962E-2</c:v>
                </c:pt>
                <c:pt idx="7">
                  <c:v>4.0416108893921006E-2</c:v>
                </c:pt>
                <c:pt idx="8">
                  <c:v>4.9886777345460459E-2</c:v>
                </c:pt>
                <c:pt idx="9">
                  <c:v>1.9316660619784563E-2</c:v>
                </c:pt>
                <c:pt idx="10">
                  <c:v>3.26531633533923E-2</c:v>
                </c:pt>
                <c:pt idx="11">
                  <c:v>1.7020930552601617E-2</c:v>
                </c:pt>
                <c:pt idx="12">
                  <c:v>4.8291651549461408E-3</c:v>
                </c:pt>
                <c:pt idx="13">
                  <c:v>5.8831992593611993E-2</c:v>
                </c:pt>
                <c:pt idx="14">
                  <c:v>7.6784977042699326E-3</c:v>
                </c:pt>
                <c:pt idx="15">
                  <c:v>1.1353542430346173E-3</c:v>
                </c:pt>
                <c:pt idx="16">
                  <c:v>1.4202874979669966E-2</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7</c:v>
                </c:pt>
                <c:pt idx="1">
                  <c:v>8</c:v>
                </c:pt>
                <c:pt idx="2">
                  <c:v>3</c:v>
                </c:pt>
                <c:pt idx="3">
                  <c:v>6</c:v>
                </c:pt>
                <c:pt idx="4">
                  <c:v>3</c:v>
                </c:pt>
                <c:pt idx="5">
                  <c:v>2</c:v>
                </c:pt>
                <c:pt idx="6">
                  <c:v>10</c:v>
                </c:pt>
                <c:pt idx="7">
                  <c:v>0</c:v>
                </c:pt>
                <c:pt idx="8">
                  <c:v>1</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7</c:v>
                </c:pt>
                <c:pt idx="1">
                  <c:v>8</c:v>
                </c:pt>
                <c:pt idx="2">
                  <c:v>3</c:v>
                </c:pt>
                <c:pt idx="3">
                  <c:v>6</c:v>
                </c:pt>
                <c:pt idx="4">
                  <c:v>3</c:v>
                </c:pt>
                <c:pt idx="5">
                  <c:v>2</c:v>
                </c:pt>
                <c:pt idx="6">
                  <c:v>10</c:v>
                </c:pt>
                <c:pt idx="7">
                  <c:v>0</c:v>
                </c:pt>
                <c:pt idx="8">
                  <c:v>1</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7</c:v>
                </c:pt>
                <c:pt idx="1">
                  <c:v>2</c:v>
                </c:pt>
                <c:pt idx="2">
                  <c:v>3</c:v>
                </c:pt>
                <c:pt idx="3">
                  <c:v>6</c:v>
                </c:pt>
                <c:pt idx="4">
                  <c:v>5</c:v>
                </c:pt>
                <c:pt idx="5">
                  <c:v>1</c:v>
                </c:pt>
                <c:pt idx="6">
                  <c:v>3</c:v>
                </c:pt>
                <c:pt idx="7">
                  <c:v>0</c:v>
                </c:pt>
                <c:pt idx="8">
                  <c:v>2</c:v>
                </c:pt>
                <c:pt idx="9">
                  <c:v>1</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6"/>
                <c:pt idx="0">
                  <c:v>Groep de Mos / Hart voor Den Haag</c:v>
                </c:pt>
                <c:pt idx="1">
                  <c:v>Haagse Stadspartij</c:v>
                </c:pt>
                <c:pt idx="2">
                  <c:v>CU-SGP</c:v>
                </c:pt>
                <c:pt idx="3">
                  <c:v>Islam Democraten</c:v>
                </c:pt>
                <c:pt idx="4">
                  <c:v>NIDA</c:v>
                </c:pt>
                <c:pt idx="5">
                  <c:v>Partij van de Eenheid</c:v>
                </c:pt>
              </c:strCache>
            </c:strRef>
          </c:cat>
          <c:val>
            <c:numRef>
              <c:f>Sheet1!$B$2:$B$9</c:f>
              <c:numCache>
                <c:formatCode>0</c:formatCode>
                <c:ptCount val="8"/>
                <c:pt idx="1">
                  <c:v>2</c:v>
                </c:pt>
                <c:pt idx="3" formatCode="0.0%">
                  <c:v>1</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6"/>
                <c:pt idx="0">
                  <c:v>Groep de Mos / Hart voor Den Haag</c:v>
                </c:pt>
                <c:pt idx="1">
                  <c:v>Haagse Stadspartij</c:v>
                </c:pt>
                <c:pt idx="2">
                  <c:v>CU-SGP</c:v>
                </c:pt>
                <c:pt idx="3">
                  <c:v>Islam Democraten</c:v>
                </c:pt>
                <c:pt idx="4">
                  <c:v>NIDA</c:v>
                </c:pt>
                <c:pt idx="5">
                  <c:v>Partij van de Eenheid</c:v>
                </c:pt>
              </c:strCache>
            </c:strRef>
          </c:cat>
          <c:val>
            <c:numRef>
              <c:f>Sheet1!$C$2:$C$9</c:f>
              <c:numCache>
                <c:formatCode>0</c:formatCode>
                <c:ptCount val="8"/>
                <c:pt idx="1">
                  <c:v>5</c:v>
                </c:pt>
                <c:pt idx="2">
                  <c:v>1</c:v>
                </c:pt>
                <c:pt idx="3" formatCode="0.0%">
                  <c:v>2</c:v>
                </c:pt>
                <c:pt idx="5" formatCode="0.0%">
                  <c:v>1</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3687B8FD-47D6-4525-99AC-433818BE0CC7}"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9E6BD0E9-644E-4D8A-9D49-877BF8DDAA99}"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fld id="{91CF34A6-F474-45FE-AB4E-FC685A3DF529}"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5A9-432E-B386-93EF51010C41}"/>
                </c:ext>
              </c:extLst>
            </c:dLbl>
            <c:dLbl>
              <c:idx val="4"/>
              <c:tx>
                <c:rich>
                  <a:bodyPr/>
                  <a:lstStyle/>
                  <a:p>
                    <a:fld id="{2D45E3A7-F045-407C-A67B-113A20C4571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5A9-432E-B386-93EF51010C41}"/>
                </c:ext>
              </c:extLst>
            </c:dLbl>
            <c:dLbl>
              <c:idx val="5"/>
              <c:tx>
                <c:rich>
                  <a:bodyPr/>
                  <a:lstStyle/>
                  <a:p>
                    <a:fld id="{351A2DB7-CE48-47E1-843B-BF4120997BE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6"/>
                <c:pt idx="0">
                  <c:v>Groep de Mos / Hart voor Den Haag</c:v>
                </c:pt>
                <c:pt idx="1">
                  <c:v>Haagse Stadspartij</c:v>
                </c:pt>
                <c:pt idx="2">
                  <c:v>CU-SGP</c:v>
                </c:pt>
                <c:pt idx="3">
                  <c:v>Islam Democraten</c:v>
                </c:pt>
                <c:pt idx="4">
                  <c:v>NIDA</c:v>
                </c:pt>
                <c:pt idx="5">
                  <c:v>Partij van de Eenheid</c:v>
                </c:pt>
              </c:strCache>
            </c:strRef>
          </c:cat>
          <c:val>
            <c:numRef>
              <c:f>Sheet1!$D$2:$D$9</c:f>
              <c:numCache>
                <c:formatCode>0</c:formatCode>
                <c:ptCount val="8"/>
                <c:pt idx="0">
                  <c:v>8</c:v>
                </c:pt>
                <c:pt idx="1">
                  <c:v>3</c:v>
                </c:pt>
                <c:pt idx="2">
                  <c:v>1</c:v>
                </c:pt>
                <c:pt idx="3" formatCode="0.0%">
                  <c:v>1</c:v>
                </c:pt>
                <c:pt idx="4" formatCode="0.0%">
                  <c:v>1</c:v>
                </c:pt>
                <c:pt idx="5" formatCode="0.0%">
                  <c:v>1</c:v>
                </c:pt>
              </c:numCache>
            </c:numRef>
          </c:val>
          <c:extLst>
            <c:ext xmlns:c15="http://schemas.microsoft.com/office/drawing/2012/chart" uri="{02D57815-91ED-43cb-92C2-25804820EDAC}">
              <c15:datalabelsRange>
                <c15:f>Sheet1!$D$2:$D$7</c15:f>
                <c15:dlblRangeCache>
                  <c:ptCount val="6"/>
                  <c:pt idx="0">
                    <c:v>8</c:v>
                  </c:pt>
                  <c:pt idx="1">
                    <c:v>3</c:v>
                  </c:pt>
                  <c:pt idx="2">
                    <c:v>1</c:v>
                  </c:pt>
                  <c:pt idx="3">
                    <c:v>100,0%</c:v>
                  </c:pt>
                  <c:pt idx="4">
                    <c:v>100,0%</c:v>
                  </c:pt>
                  <c:pt idx="5">
                    <c:v>100,0%</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B$2:$B$3</c:f>
              <c:numCache>
                <c:formatCode>0%</c:formatCode>
                <c:ptCount val="2"/>
                <c:pt idx="0">
                  <c:v>0</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C$2:$C$3</c:f>
              <c:numCache>
                <c:formatCode>0%</c:formatCode>
                <c:ptCount val="2"/>
                <c:pt idx="0">
                  <c:v>0</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Gravenhage</c:v>
                </c:pt>
                <c:pt idx="1">
                  <c:v>Nederland</c:v>
                </c:pt>
              </c:strCache>
            </c:strRef>
          </c:cat>
          <c:val>
            <c:numRef>
              <c:f>Sheet1!$E$2:$E$3</c:f>
              <c:numCache>
                <c:formatCode>0%</c:formatCode>
                <c:ptCount val="2"/>
                <c:pt idx="0">
                  <c:v>0</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5549442488262913</c:v>
                </c:pt>
                <c:pt idx="1">
                  <c:v>0.23300000000000001</c:v>
                </c:pt>
                <c:pt idx="2">
                  <c:v>0.43055555430302822</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eidschendam-Voorburg</c:v>
                </c:pt>
                <c:pt idx="1">
                  <c:v>Rijswijk</c:v>
                </c:pt>
                <c:pt idx="2">
                  <c:v>Westland</c:v>
                </c:pt>
                <c:pt idx="3">
                  <c:v>Rotterdam</c:v>
                </c:pt>
                <c:pt idx="4">
                  <c:v>Zoetermeer</c:v>
                </c:pt>
                <c:pt idx="5">
                  <c:v>Amsterdam</c:v>
                </c:pt>
                <c:pt idx="6">
                  <c:v>Delft</c:v>
                </c:pt>
                <c:pt idx="7">
                  <c:v>Pijnacker-Nootdorp</c:v>
                </c:pt>
                <c:pt idx="8">
                  <c:v>Leiden</c:v>
                </c:pt>
                <c:pt idx="9">
                  <c:v>Wassenaar</c:v>
                </c:pt>
              </c:strCache>
            </c:strRef>
          </c:cat>
          <c:val>
            <c:numRef>
              <c:f>Sheet1!$B$2:$B$11</c:f>
              <c:numCache>
                <c:formatCode>General</c:formatCode>
                <c:ptCount val="10"/>
                <c:pt idx="0">
                  <c:v>2429</c:v>
                </c:pt>
                <c:pt idx="1">
                  <c:v>2132</c:v>
                </c:pt>
                <c:pt idx="2">
                  <c:v>2024</c:v>
                </c:pt>
                <c:pt idx="3">
                  <c:v>1758</c:v>
                </c:pt>
                <c:pt idx="4">
                  <c:v>1593</c:v>
                </c:pt>
                <c:pt idx="5">
                  <c:v>1402</c:v>
                </c:pt>
                <c:pt idx="6">
                  <c:v>1261</c:v>
                </c:pt>
                <c:pt idx="7">
                  <c:v>807</c:v>
                </c:pt>
                <c:pt idx="8">
                  <c:v>585</c:v>
                </c:pt>
                <c:pt idx="9">
                  <c:v>537</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Leidschendam-Voorburg</c:v>
                </c:pt>
                <c:pt idx="1">
                  <c:v>Rijswijk</c:v>
                </c:pt>
                <c:pt idx="2">
                  <c:v>Westland</c:v>
                </c:pt>
                <c:pt idx="3">
                  <c:v>Rotterdam</c:v>
                </c:pt>
                <c:pt idx="4">
                  <c:v>Zoetermeer</c:v>
                </c:pt>
                <c:pt idx="5">
                  <c:v>Amsterdam</c:v>
                </c:pt>
                <c:pt idx="6">
                  <c:v>Delft</c:v>
                </c:pt>
                <c:pt idx="7">
                  <c:v>Pijnacker-Nootdorp</c:v>
                </c:pt>
                <c:pt idx="8">
                  <c:v>Leiden</c:v>
                </c:pt>
                <c:pt idx="9">
                  <c:v>Wassenaar</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msterdam</c:v>
                </c:pt>
                <c:pt idx="1">
                  <c:v>Leidschendam-Voorburg</c:v>
                </c:pt>
                <c:pt idx="2">
                  <c:v>Rijswijk</c:v>
                </c:pt>
                <c:pt idx="3">
                  <c:v>Rotterdam</c:v>
                </c:pt>
                <c:pt idx="4">
                  <c:v>Delft</c:v>
                </c:pt>
                <c:pt idx="5">
                  <c:v>Zoetermeer</c:v>
                </c:pt>
                <c:pt idx="6">
                  <c:v>Leiden</c:v>
                </c:pt>
                <c:pt idx="7">
                  <c:v>Westland</c:v>
                </c:pt>
                <c:pt idx="8">
                  <c:v>Utrecht</c:v>
                </c:pt>
                <c:pt idx="9">
                  <c:v>Pijnacker-Nootdorp</c:v>
                </c:pt>
              </c:strCache>
            </c:strRef>
          </c:cat>
          <c:val>
            <c:numRef>
              <c:f>Sheet1!$B$2:$B$11</c:f>
              <c:numCache>
                <c:formatCode>General</c:formatCode>
                <c:ptCount val="10"/>
                <c:pt idx="0">
                  <c:v>1768</c:v>
                </c:pt>
                <c:pt idx="1">
                  <c:v>1488</c:v>
                </c:pt>
                <c:pt idx="2">
                  <c:v>1464</c:v>
                </c:pt>
                <c:pt idx="3">
                  <c:v>1452</c:v>
                </c:pt>
                <c:pt idx="4">
                  <c:v>1296</c:v>
                </c:pt>
                <c:pt idx="5">
                  <c:v>1145</c:v>
                </c:pt>
                <c:pt idx="6">
                  <c:v>991</c:v>
                </c:pt>
                <c:pt idx="7">
                  <c:v>902</c:v>
                </c:pt>
                <c:pt idx="8">
                  <c:v>541</c:v>
                </c:pt>
                <c:pt idx="9">
                  <c:v>458</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Amsterdam</c:v>
                </c:pt>
                <c:pt idx="1">
                  <c:v>Leidschendam-Voorburg</c:v>
                </c:pt>
                <c:pt idx="2">
                  <c:v>Rijswijk</c:v>
                </c:pt>
                <c:pt idx="3">
                  <c:v>Rotterdam</c:v>
                </c:pt>
                <c:pt idx="4">
                  <c:v>Delft</c:v>
                </c:pt>
                <c:pt idx="5">
                  <c:v>Zoetermeer</c:v>
                </c:pt>
                <c:pt idx="6">
                  <c:v>Leiden</c:v>
                </c:pt>
                <c:pt idx="7">
                  <c:v>Westland</c:v>
                </c:pt>
                <c:pt idx="8">
                  <c:v>Utrecht</c:v>
                </c:pt>
                <c:pt idx="9">
                  <c:v>Pijnacker-Nootdorp</c:v>
                </c:pt>
              </c:strCache>
            </c:strRef>
          </c:cat>
          <c:val>
            <c:numRef>
              <c:f>Sheet1!$C$2:$C$11</c:f>
              <c:numCache>
                <c:formatCode>General</c:formatCode>
                <c:ptCount val="10"/>
                <c:pt idx="0">
                  <c:v>661</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7.662835249042145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36398467432950193</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8007662835249041</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37931034482758619</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E45EA21-100F-4CED-9059-01F9AAA0EDD8}"/>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0625363"/>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65393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s-Gravenhage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s-Gravenhage</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608793169"/>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97522368"/>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s-Gravenhage vallen 20,0% van de huishoudens in de hoogste inkomensgroep (rijkste 20% van Nederland). Er zijn dus relatief veel rijken in 's-Gravenhage.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s-Gravenhage zijn de arme eenpersoonshuishoudens oververtegenwoordigd. De oranje balk komt dus boven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s-Gravenhage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s-Gravenhage</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62.492</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353</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350</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57%</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1820615456"/>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290172855"/>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s-Gravenhage</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38.08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71</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00%</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3%</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4%</a:t>
            </a: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1999893134"/>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646157609"/>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0,9%</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4%</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1,9%</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2305683649"/>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3738783390"/>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s-Gravenhage</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s-Gravenhage</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s-Gravenhage</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s-Gravenhage</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s-Gravenhage</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46.823</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9.297</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358</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3.664 me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5.463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338 me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462542235"/>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1030293531"/>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68,9</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Gewelds- en 
seksuele misdrijven</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455), Vuurwapenmisdrijven(290) en Heling(25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7.08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46%</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3083102374"/>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263582659"/>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s-Gravenhage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s-Gravenhage het minst ov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s-Gravenhage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s-Gravenhage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s-Gravenhage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313558746"/>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108536957"/>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s-Gravenhage</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s-Gravenhage</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356.481</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90%</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3203858198"/>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s-Gravenhage</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s-Gravenhage</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409.44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48,0%</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2263709749"/>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866402038"/>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65</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5,3%</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5,9%</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1257167440"/>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1163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545.838</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04.744</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182</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246</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466</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4253075901"/>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24%</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s-Gravenhage</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5.24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1%</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91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5%</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40</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30</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195</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106091896"/>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s-Gravenhage</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3648282496"/>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1632896971"/>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s-Gravenhage</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4190832292"/>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3516550159"/>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39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5%</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s-Gravenhage</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72% van de verhuizers naar 's-Gravenhage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48% van de verhuizers weg uit 's-Gravenhage</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3035153998"/>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815349744"/>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s-Gravenhag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s-Gravenhage</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288.9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262.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1,1</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4061505152"/>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s-Gravenhage</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Openbaar bestuur en overheidsdiensten</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66.6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Verhuur en overige zakelijke dienst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3.6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Openbaar bestuur en overheidsdiensten</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72%</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2219177702"/>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1224460208"/>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715996888"/>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s-Gravenhage</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0.2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17%</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670460644"/>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4094988193"/>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1741160153"/>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1496039945"/>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448629293"/>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4,8%</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2%</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s-Gravenhage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s-Gravenhage</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32</Words>
  <Application>Microsoft Office PowerPoint</Application>
  <PresentationFormat>Widescreen</PresentationFormat>
  <Paragraphs>429</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s-Gravenhage</vt:lpstr>
      <vt:lpstr>PowerPoint Presentation</vt:lpstr>
      <vt:lpstr>Historische bevolkingsontwikkeling 's-Gravenh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21:52:45Z</dcterms:modified>
</cp:coreProperties>
</file>